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22"/>
  </p:notesMasterIdLst>
  <p:handoutMasterIdLst>
    <p:handoutMasterId r:id="rId23"/>
  </p:handoutMasterIdLst>
  <p:sldIdLst>
    <p:sldId id="315" r:id="rId6"/>
    <p:sldId id="361" r:id="rId7"/>
    <p:sldId id="362" r:id="rId8"/>
    <p:sldId id="363" r:id="rId9"/>
    <p:sldId id="364" r:id="rId10"/>
    <p:sldId id="355" r:id="rId11"/>
    <p:sldId id="353" r:id="rId12"/>
    <p:sldId id="352" r:id="rId13"/>
    <p:sldId id="368" r:id="rId14"/>
    <p:sldId id="356" r:id="rId15"/>
    <p:sldId id="357" r:id="rId16"/>
    <p:sldId id="358" r:id="rId17"/>
    <p:sldId id="359" r:id="rId18"/>
    <p:sldId id="360" r:id="rId19"/>
    <p:sldId id="367" r:id="rId20"/>
    <p:sldId id="366" r:id="rId21"/>
  </p:sldIdLst>
  <p:sldSz cx="9144000" cy="6858000" type="screen4x3"/>
  <p:notesSz cx="7023100" cy="9309100"/>
  <p:custDataLst>
    <p:tags r:id="rId2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16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E42020"/>
    <a:srgbClr val="E71D1D"/>
    <a:srgbClr val="EB2819"/>
    <a:srgbClr val="000000"/>
    <a:srgbClr val="EE3124"/>
    <a:srgbClr val="7F7F7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109" d="100"/>
          <a:sy n="109" d="100"/>
        </p:scale>
        <p:origin x="1656" y="108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06-Jul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06-Jul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8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[Explained] Adversarial Behavior 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  <p:pic>
        <p:nvPicPr>
          <p:cNvPr id="25606" name="Picture 6" descr="Výsledok vyhľadávania obrázkov pre dopyt air traffic cartoon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" t="4310" r="2676" b="8353"/>
          <a:stretch/>
        </p:blipFill>
        <p:spPr bwMode="auto">
          <a:xfrm>
            <a:off x="433638" y="1044013"/>
            <a:ext cx="8048708" cy="5174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0" name="Picture 10" descr="Výsledok vyhľadávania obrázkov pre dopyt kid play carto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38" y="5187462"/>
            <a:ext cx="1501751" cy="1030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3324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8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332" y="856419"/>
            <a:ext cx="8001000" cy="548476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: Rounded Corners 5"/>
              <p:cNvSpPr/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⊥</m:t>
                      </m:r>
                    </m:oMath>
                  </m:oMathPara>
                </a14:m>
                <a:endParaRPr lang="en-US" b="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 xmlns="">
          <p:sp>
            <p:nvSpPr>
              <p:cNvPr id="6" name="Rectangle: Rounded Corners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2907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: Rounded Corners 6"/>
              <p:cNvSpPr/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solidFill>
                <a:srgbClr val="00B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Goa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Sharp turn away unti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UAS heading 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∥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 Adversary Heading</a:t>
                </a:r>
              </a:p>
            </p:txBody>
          </p:sp>
        </mc:Choice>
        <mc:Fallback xmlns="">
          <p:sp>
            <p:nvSpPr>
              <p:cNvPr id="7" name="Rectangle: Rounded Corners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blipFill>
                <a:blip r:embed="rId4"/>
                <a:stretch>
                  <a:fillRect b="-2907"/>
                </a:stretch>
              </a:blipFill>
              <a:ln>
                <a:solidFill>
                  <a:srgbClr val="92D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: Rounded Corners 7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</p:spTree>
    <p:extLst>
      <p:ext uri="{BB962C8B-B14F-4D97-AF65-F5344CB8AC3E}">
        <p14:creationId xmlns:p14="http://schemas.microsoft.com/office/powerpoint/2010/main" val="16272613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9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916" y="856420"/>
            <a:ext cx="7965831" cy="545193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: Rounded Corners 5"/>
              <p:cNvSpPr/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⊥</m:t>
                      </m:r>
                    </m:oMath>
                  </m:oMathPara>
                </a14:m>
                <a:endParaRPr lang="en-US" b="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 xmlns="">
          <p:sp>
            <p:nvSpPr>
              <p:cNvPr id="6" name="Rectangle: Rounded Corners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2907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: Rounded Corners 6"/>
              <p:cNvSpPr/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solidFill>
                <a:srgbClr val="00B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Goa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Sharp turn away unti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UAS heading 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∥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 Adversary Heading</a:t>
                </a:r>
              </a:p>
            </p:txBody>
          </p:sp>
        </mc:Choice>
        <mc:Fallback xmlns="">
          <p:sp>
            <p:nvSpPr>
              <p:cNvPr id="7" name="Rectangle: Rounded Corners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blipFill>
                <a:blip r:embed="rId4"/>
                <a:stretch>
                  <a:fillRect b="-2907"/>
                </a:stretch>
              </a:blipFill>
              <a:ln>
                <a:solidFill>
                  <a:srgbClr val="92D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: Rounded Corners 7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</p:spTree>
    <p:extLst>
      <p:ext uri="{BB962C8B-B14F-4D97-AF65-F5344CB8AC3E}">
        <p14:creationId xmlns:p14="http://schemas.microsoft.com/office/powerpoint/2010/main" val="29974081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20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435" y="856420"/>
            <a:ext cx="7996793" cy="546524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: Rounded Corners 5"/>
              <p:cNvSpPr/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⊥</m:t>
                      </m:r>
                    </m:oMath>
                  </m:oMathPara>
                </a14:m>
                <a:endParaRPr lang="en-US" b="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 xmlns="">
          <p:sp>
            <p:nvSpPr>
              <p:cNvPr id="6" name="Rectangle: Rounded Corners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2907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: Rounded Corners 6"/>
              <p:cNvSpPr/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solidFill>
                <a:srgbClr val="00B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Goa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Sharp turn away unti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UAS heading 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∥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 Adversary Heading</a:t>
                </a:r>
              </a:p>
            </p:txBody>
          </p:sp>
        </mc:Choice>
        <mc:Fallback xmlns="">
          <p:sp>
            <p:nvSpPr>
              <p:cNvPr id="7" name="Rectangle: Rounded Corners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blipFill>
                <a:blip r:embed="rId4"/>
                <a:stretch>
                  <a:fillRect b="-2907"/>
                </a:stretch>
              </a:blipFill>
              <a:ln>
                <a:solidFill>
                  <a:srgbClr val="92D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: Rounded Corners 7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</p:spTree>
    <p:extLst>
      <p:ext uri="{BB962C8B-B14F-4D97-AF65-F5344CB8AC3E}">
        <p14:creationId xmlns:p14="http://schemas.microsoft.com/office/powerpoint/2010/main" val="15262599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21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163" y="856420"/>
            <a:ext cx="8071338" cy="550271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: Rounded Corners 5"/>
              <p:cNvSpPr/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⊥</m:t>
                      </m:r>
                    </m:oMath>
                  </m:oMathPara>
                </a14:m>
                <a:endParaRPr lang="en-US" b="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 xmlns="">
          <p:sp>
            <p:nvSpPr>
              <p:cNvPr id="6" name="Rectangle: Rounded Corners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2907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: Rounded Corners 6"/>
              <p:cNvSpPr/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solidFill>
                <a:srgbClr val="00B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Goa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Sharp turn away unti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UAS heading 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∥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 Adversary Heading</a:t>
                </a:r>
              </a:p>
            </p:txBody>
          </p:sp>
        </mc:Choice>
        <mc:Fallback xmlns="">
          <p:sp>
            <p:nvSpPr>
              <p:cNvPr id="7" name="Rectangle: Rounded Corners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274" y="1037329"/>
                <a:ext cx="4232033" cy="1021556"/>
              </a:xfrm>
              <a:prstGeom prst="roundRect">
                <a:avLst/>
              </a:prstGeom>
              <a:blipFill>
                <a:blip r:embed="rId4"/>
                <a:stretch>
                  <a:fillRect b="-2907"/>
                </a:stretch>
              </a:blipFill>
              <a:ln>
                <a:solidFill>
                  <a:srgbClr val="92D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: Rounded Corners 7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</p:spTree>
    <p:extLst>
      <p:ext uri="{BB962C8B-B14F-4D97-AF65-F5344CB8AC3E}">
        <p14:creationId xmlns:p14="http://schemas.microsoft.com/office/powerpoint/2010/main" val="42717477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22. – Collision Avoid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559" y="856420"/>
            <a:ext cx="8062546" cy="551813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: Rounded Corners 5"/>
              <p:cNvSpPr/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∥</m:t>
                      </m:r>
                    </m:oMath>
                  </m:oMathPara>
                </a14:m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\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 xmlns="">
          <p:sp>
            <p:nvSpPr>
              <p:cNvPr id="6" name="Rectangle: Rounded Corners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37329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2907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: Rounded Corners 7"/>
          <p:cNvSpPr/>
          <p:nvPr/>
        </p:nvSpPr>
        <p:spPr>
          <a:xfrm>
            <a:off x="3798274" y="1037329"/>
            <a:ext cx="4232033" cy="1021556"/>
          </a:xfrm>
          <a:prstGeom prst="roundRect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Goal:</a:t>
            </a:r>
          </a:p>
          <a:p>
            <a:pPr algn="ctr"/>
            <a:r>
              <a:rPr lang="en-US" b="1" i="1" u="sng" dirty="0">
                <a:solidFill>
                  <a:schemeClr val="bg1"/>
                </a:solidFill>
              </a:rPr>
              <a:t>Increase velocity to maximum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heck Adversary Heading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10" name="Rectangle: Rounded Corners 9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</p:spTree>
    <p:extLst>
      <p:ext uri="{BB962C8B-B14F-4D97-AF65-F5344CB8AC3E}">
        <p14:creationId xmlns:p14="http://schemas.microsoft.com/office/powerpoint/2010/main" val="31944330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handled Pursuit leads to Collision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Expected crash distance from spoofed position notifications satisfies the safety condition:</a:t>
                </a:r>
                <a:r>
                  <a:rPr lang="en-US" b="0" i="1" dirty="0">
                    <a:latin typeface="Cambria Math" panose="02040503050406030204" pitchFamily="18" charset="0"/>
                  </a:rPr>
                  <a:t>	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𝑖𝑠𝑡𝑎𝑛𝑐𝑒𝑇𝑜𝑆𝑎𝑓𝑒𝑡𝑦𝑀𝑎𝑟𝑔𝑖𝑛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≥0</m:t>
                      </m:r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					</a:t>
                </a:r>
                <a:r>
                  <a:rPr lang="en-US" b="1" i="1" u="sng" dirty="0"/>
                  <a:t>But it leads to unconditional crash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6" name="Content Placeholder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37" y="2773142"/>
            <a:ext cx="9039925" cy="3678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4503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ed Pursuit can save the UAS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dirty="0"/>
                  <a:t>The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𝑑𝑖𝑠𝑡𝑎𝑛𝑐𝑒𝑇𝑜𝑆𝑎𝑓𝑒𝑡𝑦𝑀𝑎𝑟𝑔𝑖𝑛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&lt;0</m:t>
                    </m:r>
                  </m:oMath>
                </a14:m>
                <a:r>
                  <a:rPr lang="en-US" dirty="0"/>
                  <a:t> for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16</m:t>
                    </m:r>
                  </m:oMath>
                </a14:m>
                <a:r>
                  <a:rPr lang="en-US" dirty="0"/>
                  <a:t>, </a:t>
                </a:r>
              </a:p>
              <a:p>
                <a:pPr marL="0" indent="0">
                  <a:buNone/>
                </a:pPr>
                <a:r>
                  <a:rPr lang="en-US" dirty="0"/>
                  <a:t>			which means that </a:t>
                </a:r>
                <a:r>
                  <a:rPr lang="en-US" b="1" i="1" u="sng" dirty="0"/>
                  <a:t>rules of the air are broken</a:t>
                </a:r>
                <a:r>
                  <a:rPr lang="en-US" dirty="0"/>
                  <a:t>,</a:t>
                </a:r>
              </a:p>
              <a:p>
                <a:pPr marL="0" indent="0">
                  <a:buNone/>
                </a:pPr>
                <a:r>
                  <a:rPr lang="en-US" dirty="0"/>
                  <a:t>								But UAS 1 was </a:t>
                </a:r>
                <a:r>
                  <a:rPr lang="en-US"/>
                  <a:t>not </a:t>
                </a:r>
                <a:r>
                  <a:rPr lang="en-US" i="1" u="sng"/>
                  <a:t>damaged </a:t>
                </a:r>
                <a:r>
                  <a:rPr lang="en-US" i="1" u="sng" dirty="0"/>
                  <a:t>by UAS 2 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314032"/>
            <a:ext cx="9144001" cy="4062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3868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/>
          <a:p>
            <a:r>
              <a:rPr lang="en-US" dirty="0"/>
              <a:t>Possible solution for Adversarial Behavio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3239560" cy="4846320"/>
          </a:xfrm>
        </p:spPr>
        <p:txBody>
          <a:bodyPr/>
          <a:lstStyle/>
          <a:p>
            <a:pPr marL="0" indent="0">
              <a:buNone/>
            </a:pPr>
            <a:r>
              <a:rPr lang="en-US" i="1" u="sng" dirty="0"/>
              <a:t>In Conclusion section 7.5.2:</a:t>
            </a:r>
          </a:p>
          <a:p>
            <a:r>
              <a:rPr lang="en-US" dirty="0"/>
              <a:t>Head on Maneuver</a:t>
            </a:r>
            <a:br>
              <a:rPr lang="en-US" dirty="0"/>
            </a:br>
            <a:r>
              <a:rPr lang="en-US" dirty="0"/>
              <a:t>(7.4.2) goes wrong</a:t>
            </a:r>
          </a:p>
          <a:p>
            <a:endParaRPr lang="en-US" dirty="0"/>
          </a:p>
          <a:p>
            <a:r>
              <a:rPr lang="en-US" i="1" u="sng" dirty="0"/>
              <a:t>UAS 2 </a:t>
            </a:r>
            <a:r>
              <a:rPr lang="en-US" dirty="0"/>
              <a:t>starts behave like:</a:t>
            </a:r>
            <a:br>
              <a:rPr lang="en-US" dirty="0"/>
            </a:br>
            <a:r>
              <a:rPr lang="en-US" dirty="0"/>
              <a:t>	</a:t>
            </a:r>
            <a:r>
              <a:rPr lang="en-US" i="1" u="sng" dirty="0"/>
              <a:t>Adversary</a:t>
            </a:r>
            <a:r>
              <a:rPr lang="en-US" dirty="0"/>
              <a:t> (magenta)</a:t>
            </a:r>
          </a:p>
          <a:p>
            <a:endParaRPr lang="en-US" dirty="0"/>
          </a:p>
          <a:p>
            <a:r>
              <a:rPr lang="en-US" dirty="0"/>
              <a:t>UTM is deceived by false</a:t>
            </a:r>
            <a:br>
              <a:rPr lang="en-US" dirty="0"/>
            </a:br>
            <a:r>
              <a:rPr lang="en-US" dirty="0"/>
              <a:t>position notifications (gray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		   ………</a:t>
            </a:r>
          </a:p>
          <a:p>
            <a:endParaRPr lang="en-US" dirty="0"/>
          </a:p>
          <a:p>
            <a:r>
              <a:rPr lang="en-US" i="1" u="sng" dirty="0"/>
              <a:t>UAS 1</a:t>
            </a:r>
            <a:r>
              <a:rPr lang="en-US" dirty="0"/>
              <a:t> (blue) is taken down 	    from  </a:t>
            </a:r>
            <a:r>
              <a:rPr lang="en-US" i="1" u="sng" dirty="0"/>
              <a:t>blind spo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1900" y="1193483"/>
            <a:ext cx="4865688" cy="3512318"/>
          </a:xfrm>
          <a:prstGeom prst="rect">
            <a:avLst/>
          </a:prstGeom>
        </p:spPr>
      </p:pic>
      <p:sp>
        <p:nvSpPr>
          <p:cNvPr id="7" name="Rectangle: Rounded Corners 6"/>
          <p:cNvSpPr/>
          <p:nvPr/>
        </p:nvSpPr>
        <p:spPr>
          <a:xfrm>
            <a:off x="4370832" y="5419663"/>
            <a:ext cx="4232033" cy="715089"/>
          </a:xfrm>
          <a:prstGeom prst="roundRect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hat if there is a possibility of rule for:</a:t>
            </a:r>
          </a:p>
          <a:p>
            <a:pPr algn="ctr"/>
            <a:r>
              <a:rPr lang="en-US" b="1" i="1" u="sng" dirty="0">
                <a:solidFill>
                  <a:schemeClr val="bg1"/>
                </a:solidFill>
              </a:rPr>
              <a:t>Pursuit avoidance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6510718" y="1109384"/>
            <a:ext cx="2126870" cy="408623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poofed position</a:t>
            </a:r>
          </a:p>
        </p:txBody>
      </p:sp>
    </p:spTree>
    <p:extLst>
      <p:ext uri="{BB962C8B-B14F-4D97-AF65-F5344CB8AC3E}">
        <p14:creationId xmlns:p14="http://schemas.microsoft.com/office/powerpoint/2010/main" val="2388830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2 Trajectory Spoof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193482"/>
            <a:ext cx="9144000" cy="4940791"/>
          </a:xfrm>
          <a:prstGeom prst="rect">
            <a:avLst/>
          </a:prstGeom>
        </p:spPr>
      </p:pic>
      <p:sp>
        <p:nvSpPr>
          <p:cNvPr id="6" name="Rectangle: Rounded Corners 5"/>
          <p:cNvSpPr/>
          <p:nvPr/>
        </p:nvSpPr>
        <p:spPr>
          <a:xfrm>
            <a:off x="6984530" y="1193483"/>
            <a:ext cx="2126870" cy="408623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poofed position</a:t>
            </a:r>
          </a:p>
        </p:txBody>
      </p:sp>
      <p:sp>
        <p:nvSpPr>
          <p:cNvPr id="7" name="Rectangle: Rounded Corners 6"/>
          <p:cNvSpPr/>
          <p:nvPr/>
        </p:nvSpPr>
        <p:spPr>
          <a:xfrm>
            <a:off x="6984530" y="1734856"/>
            <a:ext cx="2126870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l position</a:t>
            </a:r>
          </a:p>
        </p:txBody>
      </p:sp>
    </p:spTree>
    <p:extLst>
      <p:ext uri="{BB962C8B-B14F-4D97-AF65-F5344CB8AC3E}">
        <p14:creationId xmlns:p14="http://schemas.microsoft.com/office/powerpoint/2010/main" val="3028287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2 Adversarial Behavior Star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3482"/>
            <a:ext cx="9038492" cy="4890829"/>
          </a:xfrm>
          <a:prstGeom prst="rect">
            <a:avLst/>
          </a:prstGeom>
        </p:spPr>
      </p:pic>
      <p:sp>
        <p:nvSpPr>
          <p:cNvPr id="6" name="Rectangle: Rounded Corners 5"/>
          <p:cNvSpPr/>
          <p:nvPr/>
        </p:nvSpPr>
        <p:spPr>
          <a:xfrm>
            <a:off x="6984530" y="1193483"/>
            <a:ext cx="2126870" cy="408623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poofed position</a:t>
            </a:r>
          </a:p>
        </p:txBody>
      </p:sp>
      <p:sp>
        <p:nvSpPr>
          <p:cNvPr id="7" name="Rectangle: Rounded Corners 6"/>
          <p:cNvSpPr/>
          <p:nvPr/>
        </p:nvSpPr>
        <p:spPr>
          <a:xfrm>
            <a:off x="6984530" y="1734856"/>
            <a:ext cx="2126870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l position</a:t>
            </a:r>
          </a:p>
        </p:txBody>
      </p:sp>
    </p:spTree>
    <p:extLst>
      <p:ext uri="{BB962C8B-B14F-4D97-AF65-F5344CB8AC3E}">
        <p14:creationId xmlns:p14="http://schemas.microsoft.com/office/powerpoint/2010/main" val="35481675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AS 1 (blue) detects adversar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3482"/>
            <a:ext cx="9144000" cy="4947087"/>
          </a:xfrm>
          <a:prstGeom prst="rect">
            <a:avLst/>
          </a:prstGeom>
        </p:spPr>
      </p:pic>
      <p:sp>
        <p:nvSpPr>
          <p:cNvPr id="6" name="Rectangle: Rounded Corners 5"/>
          <p:cNvSpPr/>
          <p:nvPr/>
        </p:nvSpPr>
        <p:spPr>
          <a:xfrm>
            <a:off x="656796" y="1292110"/>
            <a:ext cx="4069177" cy="1328023"/>
          </a:xfrm>
          <a:prstGeom prst="roundRect">
            <a:avLst/>
          </a:prstGeom>
          <a:solidFill>
            <a:srgbClr val="FF0000"/>
          </a:solidFill>
          <a:ln>
            <a:solidFill>
              <a:schemeClr val="tx2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ere is huge </a:t>
            </a:r>
            <a:r>
              <a:rPr lang="en-US" b="1" i="1" u="sng" dirty="0">
                <a:solidFill>
                  <a:schemeClr val="bg1"/>
                </a:solidFill>
              </a:rPr>
              <a:t>disproportion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between: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US" i="1" dirty="0">
                <a:solidFill>
                  <a:schemeClr val="bg1"/>
                </a:solidFill>
              </a:rPr>
              <a:t>Claimed position </a:t>
            </a:r>
            <a:r>
              <a:rPr lang="en-US" dirty="0">
                <a:solidFill>
                  <a:schemeClr val="bg1"/>
                </a:solidFill>
              </a:rPr>
              <a:t>&lt;-&gt; </a:t>
            </a:r>
            <a:r>
              <a:rPr lang="en-US" i="1" dirty="0">
                <a:solidFill>
                  <a:schemeClr val="bg1"/>
                </a:solidFill>
              </a:rPr>
              <a:t>Real position</a:t>
            </a:r>
          </a:p>
        </p:txBody>
      </p:sp>
      <p:sp>
        <p:nvSpPr>
          <p:cNvPr id="7" name="Rectangle: Rounded Corners 6"/>
          <p:cNvSpPr/>
          <p:nvPr/>
        </p:nvSpPr>
        <p:spPr>
          <a:xfrm>
            <a:off x="6984530" y="1193483"/>
            <a:ext cx="2126870" cy="408623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poofed position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6984530" y="1734856"/>
            <a:ext cx="2126870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al position</a:t>
            </a:r>
          </a:p>
        </p:txBody>
      </p:sp>
    </p:spTree>
    <p:extLst>
      <p:ext uri="{BB962C8B-B14F-4D97-AF65-F5344CB8AC3E}">
        <p14:creationId xmlns:p14="http://schemas.microsoft.com/office/powerpoint/2010/main" val="17862334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Avoidance Grid Range is Remov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927" y="856420"/>
            <a:ext cx="7971810" cy="5503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6524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odge Pursu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539" y="856420"/>
            <a:ext cx="8018585" cy="5518948"/>
          </a:xfrm>
          <a:prstGeom prst="rect">
            <a:avLst/>
          </a:prstGeom>
        </p:spPr>
      </p:pic>
      <p:sp>
        <p:nvSpPr>
          <p:cNvPr id="7" name="Rectangle: Rounded Corners 6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: Rounded Corners 8"/>
              <p:cNvSpPr/>
              <p:nvPr/>
            </p:nvSpPr>
            <p:spPr>
              <a:xfrm>
                <a:off x="1022838" y="1005333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⊥</m:t>
                      </m:r>
                    </m:oMath>
                  </m:oMathPara>
                </a14:m>
                <a:endParaRPr lang="en-US" b="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 xmlns="">
          <p:sp>
            <p:nvSpPr>
              <p:cNvPr id="9" name="Rectangle: Rounded Corners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05333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3509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: Rounded Corners 9"/>
              <p:cNvSpPr/>
              <p:nvPr/>
            </p:nvSpPr>
            <p:spPr>
              <a:xfrm>
                <a:off x="3798274" y="1005333"/>
                <a:ext cx="4232033" cy="1021556"/>
              </a:xfrm>
              <a:prstGeom prst="roundRect">
                <a:avLst/>
              </a:prstGeom>
              <a:solidFill>
                <a:srgbClr val="00B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Goa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Sharp turn away unti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UAS heading 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∥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 Adversary Heading</a:t>
                </a:r>
              </a:p>
            </p:txBody>
          </p:sp>
        </mc:Choice>
        <mc:Fallback xmlns="">
          <p:sp>
            <p:nvSpPr>
              <p:cNvPr id="10" name="Rectangle: Rounded Corners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274" y="1005333"/>
                <a:ext cx="4232033" cy="1021556"/>
              </a:xfrm>
              <a:prstGeom prst="roundRect">
                <a:avLst/>
              </a:prstGeom>
              <a:blipFill>
                <a:blip r:embed="rId4"/>
                <a:stretch>
                  <a:fillRect b="-3509"/>
                </a:stretch>
              </a:blipFill>
              <a:ln>
                <a:solidFill>
                  <a:srgbClr val="92D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Straight Arrow Connector 11"/>
          <p:cNvCxnSpPr>
            <a:cxnSpLocks/>
            <a:stCxn id="9" idx="2"/>
          </p:cNvCxnSpPr>
          <p:nvPr/>
        </p:nvCxnSpPr>
        <p:spPr>
          <a:xfrm>
            <a:off x="2327031" y="2026889"/>
            <a:ext cx="1242297" cy="337063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03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: Dodge Pursui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US" b="1" i="1" u="sng" dirty="0"/>
                  <a:t>Invocation:</a:t>
                </a:r>
                <a:r>
                  <a:rPr lang="en-US" b="1" dirty="0"/>
                  <a:t> </a:t>
                </a:r>
                <a:r>
                  <a:rPr lang="en-US" dirty="0"/>
                  <a:t>Adversary UAS actively pursuing our </a:t>
                </a:r>
                <a:r>
                  <a:rPr lang="en-US" dirty="0" err="1"/>
                  <a:t>posiiton</a:t>
                </a:r>
                <a:endParaRPr lang="en-US" dirty="0"/>
              </a:p>
              <a:p>
                <a:pPr marL="0" indent="0">
                  <a:buNone/>
                </a:pPr>
                <a:endParaRPr lang="en-US" b="1" dirty="0"/>
              </a:p>
              <a:p>
                <a:pPr marL="0" indent="0">
                  <a:buNone/>
                </a:pPr>
                <a:r>
                  <a:rPr lang="en-US" b="1" i="1" u="sng" dirty="0"/>
                  <a:t>Objective:</a:t>
                </a:r>
                <a:r>
                  <a:rPr lang="en-US" b="1" dirty="0"/>
                  <a:t> </a:t>
                </a:r>
                <a:r>
                  <a:rPr lang="en-US" dirty="0"/>
                  <a:t>Ensure that Intruder will not enter into UAS  “Body margin”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dirty="0"/>
                  <a:t>while</a:t>
                </a:r>
                <a:r>
                  <a:rPr lang="en-US" dirty="0"/>
                  <a:t> </a:t>
                </a:r>
                <a:r>
                  <a:rPr lang="en-US" i="1" dirty="0"/>
                  <a:t>UAS heading</a:t>
                </a:r>
                <a:r>
                  <a:rPr lang="en-US" dirty="0"/>
                  <a:t> || </a:t>
                </a:r>
                <a:r>
                  <a:rPr lang="en-US" i="1" dirty="0"/>
                  <a:t>adversary heading</a:t>
                </a:r>
                <a:r>
                  <a:rPr lang="en-US" dirty="0"/>
                  <a:t>:</a:t>
                </a:r>
              </a:p>
              <a:p>
                <a:pPr marL="0" indent="0">
                  <a:buNone/>
                </a:pPr>
                <a:r>
                  <a:rPr lang="en-US" dirty="0"/>
                  <a:t>	a. turn way from pursuing adversary</a:t>
                </a:r>
              </a:p>
              <a:p>
                <a:pPr marL="0" indent="0">
                  <a:buNone/>
                </a:pPr>
                <a:r>
                  <a:rPr lang="en-US" dirty="0"/>
                  <a:t>	b. to achiev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UAS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heading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⊥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𝑐𝑜𝑙𝑙𝑖𝑠𝑖𝑜𝑛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𝑝𝑙𝑎𝑛𝑒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dirty="0"/>
                  <a:t>when</a:t>
                </a:r>
                <a:r>
                  <a:rPr lang="en-US" dirty="0"/>
                  <a:t> </a:t>
                </a:r>
                <a:r>
                  <a:rPr lang="en-US" i="1" dirty="0"/>
                  <a:t>UAS heading</a:t>
                </a:r>
                <a:r>
                  <a:rPr lang="en-US" dirty="0"/>
                  <a:t> || </a:t>
                </a:r>
                <a:r>
                  <a:rPr lang="en-US" i="1" dirty="0"/>
                  <a:t>adversary heading</a:t>
                </a:r>
                <a:r>
                  <a:rPr lang="en-US" dirty="0"/>
                  <a:t>:</a:t>
                </a:r>
              </a:p>
              <a:p>
                <a:pPr marL="0" indent="0">
                  <a:buNone/>
                </a:pPr>
                <a:r>
                  <a:rPr lang="en-US" dirty="0"/>
                  <a:t>	a. increase </a:t>
                </a:r>
                <a:r>
                  <a:rPr lang="en-US" i="1" u="sng" dirty="0"/>
                  <a:t>velocity</a:t>
                </a:r>
                <a:r>
                  <a:rPr lang="en-US" dirty="0"/>
                  <a:t> to </a:t>
                </a:r>
                <a:r>
                  <a:rPr lang="en-US" i="1" dirty="0"/>
                  <a:t>maximum</a:t>
                </a:r>
                <a:r>
                  <a:rPr lang="en-US" dirty="0"/>
                  <a:t> </a:t>
                </a:r>
              </a:p>
              <a:p>
                <a:pPr marL="0" indent="0">
                  <a:buNone/>
                </a:pPr>
                <a:r>
                  <a:rPr lang="en-US" dirty="0"/>
                  <a:t>	b. check for </a:t>
                </a:r>
                <a:r>
                  <a:rPr lang="en-US" i="1" dirty="0"/>
                  <a:t>adversary</a:t>
                </a:r>
                <a:r>
                  <a:rPr lang="en-US" dirty="0"/>
                  <a:t> heading for </a:t>
                </a:r>
                <a:r>
                  <a:rPr lang="en-US" i="1" u="sng" dirty="0"/>
                  <a:t>changes</a:t>
                </a:r>
              </a:p>
              <a:p>
                <a:pPr marL="0" indent="0">
                  <a:buNone/>
                </a:pPr>
                <a:endParaRPr lang="en-US" b="1" dirty="0"/>
              </a:p>
              <a:p>
                <a:pPr marL="0" indent="0">
                  <a:buNone/>
                </a:pPr>
                <a:endParaRPr lang="en-US" b="1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t="-7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8739487"/>
              </p:ext>
            </p:extLst>
          </p:nvPr>
        </p:nvGraphicFramePr>
        <p:xfrm>
          <a:off x="532340" y="5322865"/>
          <a:ext cx="8047038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2346">
                  <a:extLst>
                    <a:ext uri="{9D8B030D-6E8A-4147-A177-3AD203B41FA5}">
                      <a16:colId xmlns:a16="http://schemas.microsoft.com/office/drawing/2014/main" val="348019188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2371609839"/>
                    </a:ext>
                  </a:extLst>
                </a:gridCol>
                <a:gridCol w="2682346">
                  <a:extLst>
                    <a:ext uri="{9D8B030D-6E8A-4147-A177-3AD203B41FA5}">
                      <a16:colId xmlns:a16="http://schemas.microsoft.com/office/drawing/2014/main" val="308957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9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UAS Avoidance Grid</a:t>
                      </a:r>
                    </a:p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dversarial U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Adversary UAS tracking our posi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odge pursu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1864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99389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frame 17. – Adversary Detec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539" y="856420"/>
            <a:ext cx="8018585" cy="5518948"/>
          </a:xfrm>
          <a:prstGeom prst="rect">
            <a:avLst/>
          </a:prstGeom>
        </p:spPr>
      </p:pic>
      <p:sp>
        <p:nvSpPr>
          <p:cNvPr id="7" name="Rectangle: Rounded Corners 6"/>
          <p:cNvSpPr/>
          <p:nvPr/>
        </p:nvSpPr>
        <p:spPr>
          <a:xfrm>
            <a:off x="1022838" y="5218271"/>
            <a:ext cx="1573823" cy="408623"/>
          </a:xfrm>
          <a:prstGeom prst="roundRect">
            <a:avLst/>
          </a:prstGeom>
          <a:solidFill>
            <a:schemeClr val="accent3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UAS</a:t>
            </a:r>
          </a:p>
        </p:txBody>
      </p:sp>
      <p:sp>
        <p:nvSpPr>
          <p:cNvPr id="8" name="Rectangle: Rounded Corners 7"/>
          <p:cNvSpPr/>
          <p:nvPr/>
        </p:nvSpPr>
        <p:spPr>
          <a:xfrm>
            <a:off x="6456484" y="5217377"/>
            <a:ext cx="1573823" cy="408623"/>
          </a:xfrm>
          <a:prstGeom prst="roundRect">
            <a:avLst/>
          </a:prstGeom>
          <a:solidFill>
            <a:srgbClr val="FF00FF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versar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: Rounded Corners 8"/>
              <p:cNvSpPr/>
              <p:nvPr/>
            </p:nvSpPr>
            <p:spPr>
              <a:xfrm>
                <a:off x="1022838" y="1005333"/>
                <a:ext cx="2608386" cy="1021556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voidance plane </a:t>
                </a:r>
                <a:endParaRPr lang="en-US" b="0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⊥</m:t>
                      </m:r>
                    </m:oMath>
                  </m:oMathPara>
                </a14:m>
                <a:endParaRPr lang="en-US" b="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Adversary heading</a:t>
                </a:r>
              </a:p>
            </p:txBody>
          </p:sp>
        </mc:Choice>
        <mc:Fallback xmlns="">
          <p:sp>
            <p:nvSpPr>
              <p:cNvPr id="9" name="Rectangle: Rounded Corners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38" y="1005333"/>
                <a:ext cx="2608386" cy="1021556"/>
              </a:xfrm>
              <a:prstGeom prst="roundRect">
                <a:avLst/>
              </a:prstGeom>
              <a:blipFill>
                <a:blip r:embed="rId3"/>
                <a:stretch>
                  <a:fillRect b="-3509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: Rounded Corners 9"/>
              <p:cNvSpPr/>
              <p:nvPr/>
            </p:nvSpPr>
            <p:spPr>
              <a:xfrm>
                <a:off x="3798274" y="1005333"/>
                <a:ext cx="4232033" cy="1021556"/>
              </a:xfrm>
              <a:prstGeom prst="roundRect">
                <a:avLst/>
              </a:prstGeom>
              <a:solidFill>
                <a:srgbClr val="00B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Goa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Sharp turn away until:</a:t>
                </a:r>
              </a:p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UAS heading 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∥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 Adversary Heading</a:t>
                </a:r>
              </a:p>
            </p:txBody>
          </p:sp>
        </mc:Choice>
        <mc:Fallback xmlns="">
          <p:sp>
            <p:nvSpPr>
              <p:cNvPr id="10" name="Rectangle: Rounded Corners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274" y="1005333"/>
                <a:ext cx="4232033" cy="1021556"/>
              </a:xfrm>
              <a:prstGeom prst="roundRect">
                <a:avLst/>
              </a:prstGeom>
              <a:blipFill>
                <a:blip r:embed="rId4"/>
                <a:stretch>
                  <a:fillRect b="-3509"/>
                </a:stretch>
              </a:blipFill>
              <a:ln>
                <a:solidFill>
                  <a:srgbClr val="92D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Straight Arrow Connector 11"/>
          <p:cNvCxnSpPr>
            <a:cxnSpLocks/>
            <a:stCxn id="9" idx="2"/>
          </p:cNvCxnSpPr>
          <p:nvPr/>
        </p:nvCxnSpPr>
        <p:spPr>
          <a:xfrm>
            <a:off x="2327031" y="2026889"/>
            <a:ext cx="1242297" cy="337063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5128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1927</TotalTime>
  <Words>350</Words>
  <Application>Microsoft Office PowerPoint</Application>
  <PresentationFormat>On-screen Show (4:3)</PresentationFormat>
  <Paragraphs>136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rial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[Explained] Adversarial Behavior Solution</vt:lpstr>
      <vt:lpstr>Possible solution for Adversarial Behavior</vt:lpstr>
      <vt:lpstr>UAS 2 Trajectory Spoofing</vt:lpstr>
      <vt:lpstr>UAS 2 Adversarial Behavior Starts</vt:lpstr>
      <vt:lpstr>UAS 1 (blue) detects adversarial</vt:lpstr>
      <vt:lpstr>When Avoidance Grid Range is Removed</vt:lpstr>
      <vt:lpstr>Rule: Dodge Pursuit</vt:lpstr>
      <vt:lpstr>Rule: Dodge Pursuit</vt:lpstr>
      <vt:lpstr>Decision frame 17. – Adversary Detected</vt:lpstr>
      <vt:lpstr>Decision frame 18.</vt:lpstr>
      <vt:lpstr>Decision frame 19.</vt:lpstr>
      <vt:lpstr>Decision frame 20.</vt:lpstr>
      <vt:lpstr>Decision frame 21.</vt:lpstr>
      <vt:lpstr>Decision frame 22. – Collision Avoided</vt:lpstr>
      <vt:lpstr>Unhandled Pursuit leads to Collision:</vt:lpstr>
      <vt:lpstr>Handled Pursuit can save the UAS: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228</cp:revision>
  <cp:lastPrinted>2015-07-29T21:30:37Z</cp:lastPrinted>
  <dcterms:created xsi:type="dcterms:W3CDTF">2017-09-21T08:49:16Z</dcterms:created>
  <dcterms:modified xsi:type="dcterms:W3CDTF">2019-07-06T07:29:2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